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officeDocument/2006/relationships/extended-properties" Target="docProps/app.xml" Id="rId3" /><Relationship Type="http://schemas.openxmlformats.org/package/2006/relationships/metadata/core-properties" Target="docProps/core.xml" Id="rId2" /><Relationship Type="http://schemas.openxmlformats.org/officeDocument/2006/relationships/officeDocument" Target="ppt/presentation.xml" Id="rId1" /><Relationship Type="http://schemas.microsoft.com/office/2006/relationships/txt" Target="/udata/data.dat" Id="R95ed5db40146496a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6" r:id="rId2"/>
    <p:sldMasterId id="2147483685" r:id="rId3"/>
  </p:sldMasterIdLst>
  <p:notesMasterIdLst>
    <p:notesMasterId r:id="rId22"/>
  </p:notesMasterIdLst>
  <p:handoutMasterIdLst>
    <p:handoutMasterId r:id="rId23"/>
  </p:handoutMasterIdLst>
  <p:sldIdLst>
    <p:sldId id="265" r:id="rId4"/>
    <p:sldId id="479" r:id="rId5"/>
    <p:sldId id="494" r:id="rId6"/>
    <p:sldId id="495" r:id="rId7"/>
    <p:sldId id="503" r:id="rId8"/>
    <p:sldId id="500" r:id="rId9"/>
    <p:sldId id="496" r:id="rId10"/>
    <p:sldId id="481" r:id="rId11"/>
    <p:sldId id="487" r:id="rId12"/>
    <p:sldId id="492" r:id="rId13"/>
    <p:sldId id="501" r:id="rId14"/>
    <p:sldId id="497" r:id="rId15"/>
    <p:sldId id="493" r:id="rId16"/>
    <p:sldId id="499" r:id="rId17"/>
    <p:sldId id="504" r:id="rId18"/>
    <p:sldId id="475" r:id="rId19"/>
    <p:sldId id="498" r:id="rId20"/>
    <p:sldId id="261" r:id="rId21"/>
  </p:sldIdLst>
  <p:sldSz cx="12192000" cy="6858000"/>
  <p:notesSz cx="6735763" cy="9866313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4BA"/>
    <a:srgbClr val="D9D9D9"/>
    <a:srgbClr val="58B6C0"/>
    <a:srgbClr val="7F7F7F"/>
    <a:srgbClr val="FFFF00"/>
    <a:srgbClr val="A6D4DD"/>
    <a:srgbClr val="CCFFCC"/>
    <a:srgbClr val="C2F78E"/>
    <a:srgbClr val="FBA9A6"/>
    <a:srgbClr val="B965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深色样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中度样式 3 - 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52" autoAdjust="0"/>
    <p:restoredTop sz="79630" autoAdjust="0"/>
  </p:normalViewPr>
  <p:slideViewPr>
    <p:cSldViewPr snapToGrid="0">
      <p:cViewPr varScale="1">
        <p:scale>
          <a:sx n="88" d="100"/>
          <a:sy n="88" d="100"/>
        </p:scale>
        <p:origin x="1248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452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0E411-9374-49CA-9935-29AAFAA254B9}" type="datetimeFigureOut">
              <a:rPr lang="zh-CN" altLang="en-US" smtClean="0"/>
              <a:pPr/>
              <a:t>2019/10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A71E11-315C-411D-A4D2-9D621C1D133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88783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16FB3-D118-4AD4-A762-9EC75E4D45C7}" type="datetimeFigureOut">
              <a:rPr lang="zh-CN" altLang="en-US" smtClean="0"/>
              <a:pPr/>
              <a:t>2019/10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9F251-FE4B-4952-A1BD-D9700148D66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2377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69F251-FE4B-4952-A1BD-D9700148D664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24779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06804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4252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77090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1424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14562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4867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51124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36610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7BA12E-7FFF-4F46-9B4A-ECA91CF409FD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618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03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7230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260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Go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是一个通用数据研发平台，满足实时和离线两种计算场景的数据研发需求。 提供研发过程中任务整个生命周期的管理，包含任务创建、加工逻辑编辑、任务发布、 血源管理、运维报警、质量监控和任务下线等，并打通指标注册和创建报表链路。</a:t>
            </a:r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703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7454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5290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71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AAC90-9853-480C-B84A-52E6921CBB0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4574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0" y="2378033"/>
            <a:ext cx="12192000" cy="2314204"/>
            <a:chOff x="0" y="2626517"/>
            <a:chExt cx="12192000" cy="2314204"/>
          </a:xfrm>
        </p:grpSpPr>
        <p:sp>
          <p:nvSpPr>
            <p:cNvPr id="10" name="矩形 9"/>
            <p:cNvSpPr/>
            <p:nvPr userDrawn="1"/>
          </p:nvSpPr>
          <p:spPr>
            <a:xfrm>
              <a:off x="0" y="2626517"/>
              <a:ext cx="12192000" cy="1714585"/>
            </a:xfrm>
            <a:prstGeom prst="rect">
              <a:avLst/>
            </a:prstGeom>
            <a:gradFill flip="none" rotWithShape="1">
              <a:gsLst>
                <a:gs pos="0">
                  <a:srgbClr val="007AD6">
                    <a:shade val="30000"/>
                    <a:satMod val="115000"/>
                  </a:srgbClr>
                </a:gs>
                <a:gs pos="50000">
                  <a:srgbClr val="007AD6">
                    <a:shade val="67500"/>
                    <a:satMod val="115000"/>
                  </a:srgbClr>
                </a:gs>
                <a:gs pos="100000">
                  <a:srgbClr val="007AD6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rgbClr val="007AD6"/>
              </a:solidFill>
            </a:ln>
            <a:effec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>
                <a:solidFill>
                  <a:srgbClr val="5F5F5F"/>
                </a:solidFill>
              </a:endParaRPr>
            </a:p>
          </p:txBody>
        </p:sp>
        <p:cxnSp>
          <p:nvCxnSpPr>
            <p:cNvPr id="11" name="直接连接符 10"/>
            <p:cNvCxnSpPr/>
            <p:nvPr userDrawn="1"/>
          </p:nvCxnSpPr>
          <p:spPr>
            <a:xfrm>
              <a:off x="0" y="4373612"/>
              <a:ext cx="12192000" cy="0"/>
            </a:xfrm>
            <a:prstGeom prst="line">
              <a:avLst/>
            </a:prstGeom>
            <a:ln w="190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 userDrawn="1"/>
          </p:nvCxnSpPr>
          <p:spPr>
            <a:xfrm>
              <a:off x="0" y="4795475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 userDrawn="1"/>
          </p:nvCxnSpPr>
          <p:spPr>
            <a:xfrm>
              <a:off x="0" y="4861761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 userDrawn="1"/>
          </p:nvCxnSpPr>
          <p:spPr>
            <a:xfrm>
              <a:off x="0" y="4928047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 userDrawn="1"/>
          </p:nvCxnSpPr>
          <p:spPr>
            <a:xfrm>
              <a:off x="7872000" y="4795475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 userDrawn="1"/>
          </p:nvCxnSpPr>
          <p:spPr>
            <a:xfrm>
              <a:off x="7872000" y="4861761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 userDrawn="1"/>
          </p:nvCxnSpPr>
          <p:spPr>
            <a:xfrm>
              <a:off x="7872000" y="4928047"/>
              <a:ext cx="4320000" cy="12674"/>
            </a:xfrm>
            <a:prstGeom prst="line">
              <a:avLst/>
            </a:prstGeom>
            <a:ln w="3175">
              <a:solidFill>
                <a:srgbClr val="007AD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118360" y="5765509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99378" y="6247233"/>
            <a:ext cx="1951814" cy="365125"/>
          </a:xfrm>
        </p:spPr>
        <p:txBody>
          <a:bodyPr/>
          <a:lstStyle/>
          <a:p>
            <a:endParaRPr lang="zh-CN" alt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643" y="6412626"/>
            <a:ext cx="2743200" cy="365125"/>
          </a:xfrm>
          <a:prstGeom prst="rect">
            <a:avLst/>
          </a:prstGeom>
        </p:spPr>
        <p:txBody>
          <a:bodyPr/>
          <a:lstStyle/>
          <a:p>
            <a:fld id="{E85FB5F6-5366-46B6-8F16-98E2FB549E2E}" type="slidenum">
              <a:rPr lang="zh-CN" alt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6865" y="2580927"/>
            <a:ext cx="8131535" cy="131459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000" b="0" i="0">
                <a:solidFill>
                  <a:srgbClr val="FFFFFF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20000" y="4430034"/>
            <a:ext cx="3547436" cy="4233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959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6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完全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7010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-4533" y="0"/>
            <a:ext cx="12196088" cy="6852988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276871"/>
            <a:ext cx="9144000" cy="1782367"/>
          </a:xfrm>
        </p:spPr>
        <p:txBody>
          <a:bodyPr anchor="ctr">
            <a:noAutofit/>
          </a:bodyPr>
          <a:lstStyle>
            <a:lvl1pPr algn="l">
              <a:defRPr sz="8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45024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0" y="1835906"/>
            <a:ext cx="695400" cy="2664296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56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对象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>
          <a:xfrm>
            <a:off x="-4533" y="0"/>
            <a:ext cx="12196088" cy="6852988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8276" y="4288414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8" name="矩形 7"/>
          <p:cNvSpPr/>
          <p:nvPr userDrawn="1"/>
        </p:nvSpPr>
        <p:spPr>
          <a:xfrm>
            <a:off x="0" y="1802406"/>
            <a:ext cx="12192000" cy="2274666"/>
          </a:xfrm>
          <a:prstGeom prst="rect">
            <a:avLst/>
          </a:prstGeom>
          <a:gradFill flip="none" rotWithShape="1">
            <a:gsLst>
              <a:gs pos="0">
                <a:srgbClr val="007AD6">
                  <a:shade val="30000"/>
                  <a:satMod val="115000"/>
                </a:srgbClr>
              </a:gs>
              <a:gs pos="50000">
                <a:srgbClr val="007AD6">
                  <a:shade val="67500"/>
                  <a:satMod val="115000"/>
                </a:srgbClr>
              </a:gs>
              <a:gs pos="100000">
                <a:srgbClr val="007AD6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7AD6"/>
            </a:solidFill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solidFill>
                <a:srgbClr val="5F5F5F"/>
              </a:solidFill>
              <a:latin typeface="Arial" charset="0"/>
              <a:ea typeface="宋体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817953"/>
            <a:ext cx="9144000" cy="224128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0340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119335" y="908852"/>
            <a:ext cx="11880000" cy="90000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356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656383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665117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233703"/>
            <a:ext cx="3048000" cy="9652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-24680" y="4509120"/>
            <a:ext cx="9934337" cy="90000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4759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72102" y="1268760"/>
            <a:ext cx="5515024" cy="532859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10878" y="1268760"/>
            <a:ext cx="5515024" cy="532859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7855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对象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39926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对象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5434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完全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70805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-4533" y="0"/>
            <a:ext cx="12196088" cy="6852988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276871"/>
            <a:ext cx="9144000" cy="1782367"/>
          </a:xfrm>
        </p:spPr>
        <p:txBody>
          <a:bodyPr anchor="ctr">
            <a:noAutofit/>
          </a:bodyPr>
          <a:lstStyle>
            <a:lvl1pPr algn="l">
              <a:defRPr sz="8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45024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0" y="1835906"/>
            <a:ext cx="695400" cy="2664296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707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49613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02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KSO_BT1"/>
          <p:cNvSpPr>
            <a:spLocks noGrp="1"/>
          </p:cNvSpPr>
          <p:nvPr>
            <p:ph type="title"/>
          </p:nvPr>
        </p:nvSpPr>
        <p:spPr>
          <a:xfrm>
            <a:off x="1233973" y="99190"/>
            <a:ext cx="10329378" cy="65609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KSO_FT"/>
          <p:cNvSpPr>
            <a:spLocks noGrp="1"/>
          </p:cNvSpPr>
          <p:nvPr>
            <p:ph type="ftr" sz="quarter" idx="11"/>
          </p:nvPr>
        </p:nvSpPr>
        <p:spPr>
          <a:xfrm>
            <a:off x="9883784" y="5410206"/>
            <a:ext cx="1951814" cy="365125"/>
          </a:xfrm>
        </p:spPr>
        <p:txBody>
          <a:bodyPr/>
          <a:lstStyle/>
          <a:p>
            <a:endParaRPr lang="zh-CN" alt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4377" y="756971"/>
            <a:ext cx="11664000" cy="31910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</p:pic>
      <p:pic>
        <p:nvPicPr>
          <p:cNvPr id="7" name="Picture 3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7897" y="6254514"/>
            <a:ext cx="2273198" cy="547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643" y="6412626"/>
            <a:ext cx="2743200" cy="365125"/>
          </a:xfrm>
          <a:prstGeom prst="rect">
            <a:avLst/>
          </a:prstGeom>
        </p:spPr>
        <p:txBody>
          <a:bodyPr/>
          <a:lstStyle/>
          <a:p>
            <a:fld id="{E85FB5F6-5366-46B6-8F16-98E2FB549E2E}" type="slidenum">
              <a:rPr lang="zh-CN" alt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23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749" y="6128050"/>
            <a:ext cx="2273198" cy="547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4377" y="687398"/>
            <a:ext cx="11664000" cy="31910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KSO_FT"/>
          <p:cNvSpPr>
            <a:spLocks noGrp="1"/>
          </p:cNvSpPr>
          <p:nvPr>
            <p:ph type="ftr" sz="quarter" idx="11"/>
          </p:nvPr>
        </p:nvSpPr>
        <p:spPr>
          <a:xfrm>
            <a:off x="205824" y="6310683"/>
            <a:ext cx="1951814" cy="365125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643" y="6412626"/>
            <a:ext cx="2743200" cy="365125"/>
          </a:xfrm>
          <a:prstGeom prst="rect">
            <a:avLst/>
          </a:prstGeom>
        </p:spPr>
        <p:txBody>
          <a:bodyPr/>
          <a:lstStyle/>
          <a:p>
            <a:fld id="{E85FB5F6-5366-46B6-8F16-98E2FB549E2E}" type="slidenum">
              <a:rPr lang="zh-CN" alt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54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0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>
          <a:xfrm>
            <a:off x="-4533" y="0"/>
            <a:ext cx="12196088" cy="6852988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8276" y="4288414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8" name="矩形 7"/>
          <p:cNvSpPr/>
          <p:nvPr userDrawn="1"/>
        </p:nvSpPr>
        <p:spPr>
          <a:xfrm>
            <a:off x="0" y="1802406"/>
            <a:ext cx="12192000" cy="2274666"/>
          </a:xfrm>
          <a:prstGeom prst="rect">
            <a:avLst/>
          </a:prstGeom>
          <a:gradFill flip="none" rotWithShape="1">
            <a:gsLst>
              <a:gs pos="0">
                <a:srgbClr val="007AD6">
                  <a:shade val="30000"/>
                  <a:satMod val="115000"/>
                </a:srgbClr>
              </a:gs>
              <a:gs pos="50000">
                <a:srgbClr val="007AD6">
                  <a:shade val="67500"/>
                  <a:satMod val="115000"/>
                </a:srgbClr>
              </a:gs>
              <a:gs pos="100000">
                <a:srgbClr val="007AD6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7AD6"/>
            </a:solidFill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solidFill>
                <a:srgbClr val="5F5F5F"/>
              </a:solidFill>
              <a:latin typeface="Arial" charset="0"/>
              <a:ea typeface="宋体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817953"/>
            <a:ext cx="9144000" cy="224128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5890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119335" y="908852"/>
            <a:ext cx="11880000" cy="90000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41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656383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665117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233703"/>
            <a:ext cx="3048000" cy="9652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-24680" y="4509120"/>
            <a:ext cx="9934337" cy="90000"/>
          </a:xfrm>
          <a:prstGeom prst="rect">
            <a:avLst/>
          </a:prstGeom>
          <a:gradFill>
            <a:gsLst>
              <a:gs pos="0">
                <a:schemeClr val="accent6"/>
              </a:gs>
              <a:gs pos="5300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643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72102" y="1268760"/>
            <a:ext cx="5515024" cy="532859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10878" y="1268760"/>
            <a:ext cx="5515024" cy="532859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524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96715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693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0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7610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6.png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56922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99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SO_FT"/>
          <p:cNvSpPr>
            <a:spLocks noGrp="1"/>
          </p:cNvSpPr>
          <p:nvPr>
            <p:ph type="ftr" sz="quarter" idx="3"/>
          </p:nvPr>
        </p:nvSpPr>
        <p:spPr>
          <a:xfrm>
            <a:off x="444363" y="6437147"/>
            <a:ext cx="19518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1179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6" r:id="rId2"/>
    <p:sldLayoutId id="214748366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baseline="0">
          <a:solidFill>
            <a:schemeClr val="accent1"/>
          </a:solidFill>
          <a:effectLst/>
          <a:latin typeface="+mj-ea"/>
          <a:ea typeface="+mj-ea"/>
          <a:cs typeface="+mj-cs"/>
        </a:defRPr>
      </a:lvl1pPr>
    </p:titleStyle>
    <p:bodyStyle>
      <a:lvl1pPr marL="357188" indent="-357188" algn="just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60000"/>
        <a:buFont typeface="Wingdings 2" panose="05020102010507070707" pitchFamily="18" charset="2"/>
        <a:buChar char=""/>
        <a:defRPr lang="zh-CN" altLang="en-US" sz="2800" kern="1200" baseline="0" dirty="0" smtClean="0">
          <a:solidFill>
            <a:schemeClr val="accent1"/>
          </a:solidFill>
          <a:latin typeface="+mn-ea"/>
          <a:ea typeface="+mn-ea"/>
          <a:cs typeface="+mn-cs"/>
        </a:defRPr>
      </a:lvl1pPr>
      <a:lvl2pPr marL="357188" indent="-357188" algn="just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>
            <a:lumMod val="60000"/>
            <a:lumOff val="40000"/>
          </a:schemeClr>
        </a:buClr>
        <a:buFont typeface="幼圆" panose="02010509060101010101" pitchFamily="49" charset="-122"/>
        <a:buChar char=" "/>
        <a:defRPr sz="1800" kern="1200" baseline="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163684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00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63352" y="149102"/>
            <a:ext cx="10515600" cy="5435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6566" y="1196752"/>
            <a:ext cx="11672081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7" name="图片 6" descr="Artboard Copy 20.png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67"/>
          <a:stretch/>
        </p:blipFill>
        <p:spPr>
          <a:xfrm>
            <a:off x="2133" y="0"/>
            <a:ext cx="12189867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2922" y="6225551"/>
            <a:ext cx="1969079" cy="55205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23" y="846097"/>
            <a:ext cx="11664000" cy="19720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6543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63352" y="149102"/>
            <a:ext cx="10515600" cy="5435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6566" y="1196752"/>
            <a:ext cx="11672081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7" name="图片 6" descr="Artboard Copy 20.png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67"/>
          <a:stretch/>
        </p:blipFill>
        <p:spPr>
          <a:xfrm>
            <a:off x="2133" y="0"/>
            <a:ext cx="12189867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2922" y="6225551"/>
            <a:ext cx="1969079" cy="55205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23" y="846097"/>
            <a:ext cx="11664000" cy="19720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4425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2.tiff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3.jpe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210400" y="2584189"/>
            <a:ext cx="9601200" cy="1314596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DolphinScheduler</a:t>
            </a:r>
            <a:r>
              <a:rPr lang="zh-CN" altLang="en-US" sz="3600" dirty="0"/>
              <a:t>在国泰产险的应用与实践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2430" y="4449921"/>
            <a:ext cx="3017140" cy="423361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>
                <a:solidFill>
                  <a:srgbClr val="0070C0"/>
                </a:solidFill>
                <a:latin typeface="Arial" pitchFamily="34" charset="0"/>
                <a:ea typeface="微软雅黑" pitchFamily="34" charset="-122"/>
              </a:rPr>
              <a:t>国泰产险 数据应用部 张宗耀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791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圆角矩形 28">
            <a:extLst>
              <a:ext uri="{FF2B5EF4-FFF2-40B4-BE49-F238E27FC236}">
                <a16:creationId xmlns:a16="http://schemas.microsoft.com/office/drawing/2014/main" id="{E3B5E1ED-FFBF-EC4E-AF2D-4AF3393C91A6}"/>
              </a:ext>
            </a:extLst>
          </p:cNvPr>
          <p:cNvSpPr/>
          <p:nvPr/>
        </p:nvSpPr>
        <p:spPr>
          <a:xfrm>
            <a:off x="2103120" y="1088120"/>
            <a:ext cx="6019800" cy="126335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80B3086D-B7D6-CA42-AA96-56C5F1541BA9}"/>
              </a:ext>
            </a:extLst>
          </p:cNvPr>
          <p:cNvSpPr/>
          <p:nvPr/>
        </p:nvSpPr>
        <p:spPr>
          <a:xfrm>
            <a:off x="2103120" y="2464705"/>
            <a:ext cx="6019800" cy="219974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26FD7873-C1A9-2A4C-8D68-E26AFB9D68CD}"/>
              </a:ext>
            </a:extLst>
          </p:cNvPr>
          <p:cNvSpPr/>
          <p:nvPr/>
        </p:nvSpPr>
        <p:spPr>
          <a:xfrm>
            <a:off x="2103120" y="4890924"/>
            <a:ext cx="6019800" cy="124408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应用场景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DCE736E3-ED8F-414D-B849-7DF4FA1EA458}"/>
              </a:ext>
            </a:extLst>
          </p:cNvPr>
          <p:cNvSpPr/>
          <p:nvPr/>
        </p:nvSpPr>
        <p:spPr>
          <a:xfrm>
            <a:off x="2321137" y="2670634"/>
            <a:ext cx="2545079" cy="17542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MaxCompute</a:t>
            </a:r>
            <a:endParaRPr kumimoji="1"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39C0394D-4D51-D14C-A9A1-9DCF2C423444}"/>
              </a:ext>
            </a:extLst>
          </p:cNvPr>
          <p:cNvSpPr/>
          <p:nvPr/>
        </p:nvSpPr>
        <p:spPr>
          <a:xfrm>
            <a:off x="2321137" y="5117396"/>
            <a:ext cx="5583767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OceanBase</a:t>
            </a:r>
            <a:endParaRPr kumimoji="1" lang="zh-CN" altLang="en-US" dirty="0"/>
          </a:p>
        </p:txBody>
      </p:sp>
      <p:sp>
        <p:nvSpPr>
          <p:cNvPr id="13" name="虚尾箭头 12">
            <a:extLst>
              <a:ext uri="{FF2B5EF4-FFF2-40B4-BE49-F238E27FC236}">
                <a16:creationId xmlns:a16="http://schemas.microsoft.com/office/drawing/2014/main" id="{655BC10D-2C10-C943-8622-DF57AF85BA9A}"/>
              </a:ext>
            </a:extLst>
          </p:cNvPr>
          <p:cNvSpPr/>
          <p:nvPr/>
        </p:nvSpPr>
        <p:spPr>
          <a:xfrm rot="16200000">
            <a:off x="3357216" y="4382513"/>
            <a:ext cx="507213" cy="777240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3915D2C-951F-4C4F-945A-18F119189C9D}"/>
              </a:ext>
            </a:extLst>
          </p:cNvPr>
          <p:cNvSpPr/>
          <p:nvPr/>
        </p:nvSpPr>
        <p:spPr>
          <a:xfrm>
            <a:off x="6300285" y="3943151"/>
            <a:ext cx="1493520" cy="481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zh-CN" dirty="0"/>
              <a:t>HBASE</a:t>
            </a:r>
            <a:endParaRPr kumimoji="1"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DFAC82B-6269-3345-AD80-37D016FB5437}"/>
              </a:ext>
            </a:extLst>
          </p:cNvPr>
          <p:cNvSpPr/>
          <p:nvPr/>
        </p:nvSpPr>
        <p:spPr>
          <a:xfrm>
            <a:off x="6283425" y="3311132"/>
            <a:ext cx="1493520" cy="481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zh-CN" dirty="0"/>
              <a:t>HIVE</a:t>
            </a:r>
            <a:endParaRPr kumimoji="1" lang="zh-CN" altLang="en-US" dirty="0"/>
          </a:p>
        </p:txBody>
      </p:sp>
      <p:sp>
        <p:nvSpPr>
          <p:cNvPr id="18" name="虚尾箭头 17">
            <a:extLst>
              <a:ext uri="{FF2B5EF4-FFF2-40B4-BE49-F238E27FC236}">
                <a16:creationId xmlns:a16="http://schemas.microsoft.com/office/drawing/2014/main" id="{8765D712-9665-714B-82E3-8495A1ADD571}"/>
              </a:ext>
            </a:extLst>
          </p:cNvPr>
          <p:cNvSpPr/>
          <p:nvPr/>
        </p:nvSpPr>
        <p:spPr>
          <a:xfrm>
            <a:off x="5329644" y="3002609"/>
            <a:ext cx="507213" cy="1123938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03915D2C-951F-4C4F-945A-18F119189C9D}"/>
              </a:ext>
            </a:extLst>
          </p:cNvPr>
          <p:cNvSpPr/>
          <p:nvPr/>
        </p:nvSpPr>
        <p:spPr>
          <a:xfrm>
            <a:off x="2300968" y="1378622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zh-CN" dirty="0"/>
              <a:t>BI</a:t>
            </a:r>
            <a:endParaRPr kumimoji="1" lang="zh-CN" altLang="en-US" dirty="0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8200C3A8-5619-2E44-B3F4-FC57963BA54D}"/>
              </a:ext>
            </a:extLst>
          </p:cNvPr>
          <p:cNvSpPr/>
          <p:nvPr/>
        </p:nvSpPr>
        <p:spPr>
          <a:xfrm>
            <a:off x="3286381" y="1378622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取数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B06D42E-99C1-A34E-9477-40FC474DC60B}"/>
              </a:ext>
            </a:extLst>
          </p:cNvPr>
          <p:cNvSpPr/>
          <p:nvPr/>
        </p:nvSpPr>
        <p:spPr>
          <a:xfrm>
            <a:off x="4271794" y="1378622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大盘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31510256-3DAF-7344-B913-176E6AB9EE9A}"/>
              </a:ext>
            </a:extLst>
          </p:cNvPr>
          <p:cNvSpPr/>
          <p:nvPr/>
        </p:nvSpPr>
        <p:spPr>
          <a:xfrm>
            <a:off x="5257207" y="1378622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报送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CCA1FBA-C6C7-0F4E-996D-DC00BECE99DB}"/>
              </a:ext>
            </a:extLst>
          </p:cNvPr>
          <p:cNvSpPr/>
          <p:nvPr/>
        </p:nvSpPr>
        <p:spPr>
          <a:xfrm>
            <a:off x="6242620" y="1378622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画像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F0457EF7-9180-284B-985E-BEF263B88D56}"/>
              </a:ext>
            </a:extLst>
          </p:cNvPr>
          <p:cNvSpPr/>
          <p:nvPr/>
        </p:nvSpPr>
        <p:spPr>
          <a:xfrm>
            <a:off x="7158144" y="1370691"/>
            <a:ext cx="787565" cy="791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报表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FC65F0F-02E6-0440-988B-2B702CB11978}"/>
              </a:ext>
            </a:extLst>
          </p:cNvPr>
          <p:cNvSpPr/>
          <p:nvPr/>
        </p:nvSpPr>
        <p:spPr>
          <a:xfrm>
            <a:off x="6300285" y="2668113"/>
            <a:ext cx="1493520" cy="481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zh-CN" dirty="0"/>
              <a:t>RDS</a:t>
            </a:r>
            <a:endParaRPr kumimoji="1" lang="zh-CN" altLang="en-US" dirty="0"/>
          </a:p>
        </p:txBody>
      </p:sp>
      <p:sp>
        <p:nvSpPr>
          <p:cNvPr id="2" name="圆角矩形 1">
            <a:extLst>
              <a:ext uri="{FF2B5EF4-FFF2-40B4-BE49-F238E27FC236}">
                <a16:creationId xmlns:a16="http://schemas.microsoft.com/office/drawing/2014/main" id="{4141E609-EF04-8643-9FFF-F718E479838F}"/>
              </a:ext>
            </a:extLst>
          </p:cNvPr>
          <p:cNvSpPr/>
          <p:nvPr/>
        </p:nvSpPr>
        <p:spPr>
          <a:xfrm>
            <a:off x="8288015" y="1088120"/>
            <a:ext cx="1715673" cy="504688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DF6CD9FC-DE7E-DF41-8BCC-C1E7591509E7}"/>
              </a:ext>
            </a:extLst>
          </p:cNvPr>
          <p:cNvSpPr/>
          <p:nvPr/>
        </p:nvSpPr>
        <p:spPr>
          <a:xfrm>
            <a:off x="8592494" y="2436780"/>
            <a:ext cx="1124588" cy="58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数据自理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A4DDCBB-42D9-3F49-89A8-C9B1BFA99E2E}"/>
              </a:ext>
            </a:extLst>
          </p:cNvPr>
          <p:cNvSpPr/>
          <p:nvPr/>
        </p:nvSpPr>
        <p:spPr>
          <a:xfrm>
            <a:off x="8592494" y="1588462"/>
            <a:ext cx="1124588" cy="58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元数据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37EEF59A-B17B-6342-B7A3-B22B7104BBC5}"/>
              </a:ext>
            </a:extLst>
          </p:cNvPr>
          <p:cNvSpPr/>
          <p:nvPr/>
        </p:nvSpPr>
        <p:spPr>
          <a:xfrm>
            <a:off x="8592494" y="3283891"/>
            <a:ext cx="1124588" cy="58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监控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AAEB355E-8B9E-B14A-89A2-7FD529EA0642}"/>
              </a:ext>
            </a:extLst>
          </p:cNvPr>
          <p:cNvSpPr/>
          <p:nvPr/>
        </p:nvSpPr>
        <p:spPr>
          <a:xfrm>
            <a:off x="8589261" y="4052255"/>
            <a:ext cx="1124588" cy="58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消息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E8988DEF-0DBA-304E-A317-E4FCA66C3AE7}"/>
              </a:ext>
            </a:extLst>
          </p:cNvPr>
          <p:cNvSpPr/>
          <p:nvPr/>
        </p:nvSpPr>
        <p:spPr>
          <a:xfrm>
            <a:off x="8589261" y="4899366"/>
            <a:ext cx="1124588" cy="5812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zh-CN" altLang="en-US" dirty="0"/>
              <a:t>调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1213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>
            <a:extLst>
              <a:ext uri="{FF2B5EF4-FFF2-40B4-BE49-F238E27FC236}">
                <a16:creationId xmlns:a16="http://schemas.microsoft.com/office/drawing/2014/main" id="{D0858E7E-E0F6-DA48-854E-0016A5446973}"/>
              </a:ext>
            </a:extLst>
          </p:cNvPr>
          <p:cNvSpPr txBox="1"/>
          <p:nvPr/>
        </p:nvSpPr>
        <p:spPr>
          <a:xfrm>
            <a:off x="545253" y="998185"/>
            <a:ext cx="10458027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t" anchorCtr="0">
            <a:normAutofit/>
          </a:bodyPr>
          <a:lstStyle/>
          <a:p>
            <a:pPr>
              <a:lnSpc>
                <a:spcPct val="150000"/>
              </a:lnSpc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Data-G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B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倒数据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质量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中台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彩云间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归档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质量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保监报送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调度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6B0BD54-D3F9-A144-BD9B-04BBCA65D3CB}"/>
              </a:ext>
            </a:extLst>
          </p:cNvPr>
          <p:cNvSpPr/>
          <p:nvPr/>
        </p:nvSpPr>
        <p:spPr>
          <a:xfrm>
            <a:off x="7021854" y="2201541"/>
            <a:ext cx="1317911" cy="857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彩云间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D83BCE9-C6C9-6D4A-A9C4-5D3002858EA5}"/>
              </a:ext>
            </a:extLst>
          </p:cNvPr>
          <p:cNvSpPr/>
          <p:nvPr/>
        </p:nvSpPr>
        <p:spPr>
          <a:xfrm>
            <a:off x="7021853" y="3798892"/>
            <a:ext cx="1317911" cy="8575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工厂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A55FF99-E4D6-4B42-9E36-61F4E8847F1F}"/>
              </a:ext>
            </a:extLst>
          </p:cNvPr>
          <p:cNvSpPr/>
          <p:nvPr/>
        </p:nvSpPr>
        <p:spPr>
          <a:xfrm>
            <a:off x="4248981" y="2084069"/>
            <a:ext cx="1317911" cy="26898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Data-Go</a:t>
            </a:r>
            <a:endParaRPr kumimoji="1"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03CE49E-F9D5-BE49-82A4-41B48652E734}"/>
              </a:ext>
            </a:extLst>
          </p:cNvPr>
          <p:cNvSpPr/>
          <p:nvPr/>
        </p:nvSpPr>
        <p:spPr>
          <a:xfrm>
            <a:off x="9794723" y="2084069"/>
            <a:ext cx="1317911" cy="26898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Dolphin</a:t>
            </a:r>
          </a:p>
          <a:p>
            <a:pPr algn="ctr"/>
            <a:r>
              <a:rPr lang="en-US" altLang="zh-CN" dirty="0"/>
              <a:t>Scheduler</a:t>
            </a:r>
            <a:endParaRPr kumimoji="1" lang="zh-CN" altLang="en-US" dirty="0"/>
          </a:p>
        </p:txBody>
      </p:sp>
      <p:sp>
        <p:nvSpPr>
          <p:cNvPr id="3" name="虚尾箭头 2">
            <a:extLst>
              <a:ext uri="{FF2B5EF4-FFF2-40B4-BE49-F238E27FC236}">
                <a16:creationId xmlns:a16="http://schemas.microsoft.com/office/drawing/2014/main" id="{9862DB2A-318F-7A4E-9E60-6A0A54D5476C}"/>
              </a:ext>
            </a:extLst>
          </p:cNvPr>
          <p:cNvSpPr/>
          <p:nvPr/>
        </p:nvSpPr>
        <p:spPr>
          <a:xfrm>
            <a:off x="6059896" y="2914649"/>
            <a:ext cx="468954" cy="1028701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虚尾箭头 11">
            <a:extLst>
              <a:ext uri="{FF2B5EF4-FFF2-40B4-BE49-F238E27FC236}">
                <a16:creationId xmlns:a16="http://schemas.microsoft.com/office/drawing/2014/main" id="{6D9D2F3B-F9CA-C543-87A9-1F0416B256CF}"/>
              </a:ext>
            </a:extLst>
          </p:cNvPr>
          <p:cNvSpPr/>
          <p:nvPr/>
        </p:nvSpPr>
        <p:spPr>
          <a:xfrm>
            <a:off x="8832767" y="2914649"/>
            <a:ext cx="468954" cy="1028701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7916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45253" y="998185"/>
            <a:ext cx="10458027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park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</a:t>
            </a: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QL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类型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新老中台保单归档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新老中台路由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黑名单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反洗钱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保单验真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质量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报告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应用场景</a:t>
            </a:r>
            <a:r>
              <a:rPr lang="en-US" altLang="zh-CN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ETL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0C67509-CD5D-FF45-843D-BEE12B5CA7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7499" y="1470660"/>
            <a:ext cx="6999248" cy="39166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5570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929640"/>
            <a:ext cx="10859911" cy="5482273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t" anchorCtr="0">
            <a:normAutofit/>
          </a:bodyPr>
          <a:lstStyle/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源码优化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接入国泰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SO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，集中管理用户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消息通知，接入钉钉消息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MaxCompute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源，取数及数据质量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补数，基于区间时间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Cron</a:t>
            </a: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优化与演进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3623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45253" y="998185"/>
            <a:ext cx="10458027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t" anchorCtr="0"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Quick BI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 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   数据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ETL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QL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类型任务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DolphinScheduler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   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python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分析类型任务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应用场景</a:t>
            </a:r>
            <a:r>
              <a:rPr lang="en-US" altLang="zh-CN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</a:t>
            </a:r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大盘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04D6723-9613-3B4B-870F-24B6C018ED78}"/>
              </a:ext>
            </a:extLst>
          </p:cNvPr>
          <p:cNvSpPr/>
          <p:nvPr/>
        </p:nvSpPr>
        <p:spPr>
          <a:xfrm>
            <a:off x="7106132" y="4700905"/>
            <a:ext cx="2708427" cy="792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MaxCompute</a:t>
            </a:r>
            <a:endParaRPr kumimoji="1"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677734E-1E86-274C-AB0A-BC285A966FAA}"/>
              </a:ext>
            </a:extLst>
          </p:cNvPr>
          <p:cNvSpPr/>
          <p:nvPr/>
        </p:nvSpPr>
        <p:spPr>
          <a:xfrm>
            <a:off x="7106131" y="3161983"/>
            <a:ext cx="2708427" cy="792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RDS</a:t>
            </a:r>
            <a:endParaRPr kumimoji="1"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83C3271-6F7A-E949-9004-417AA536051E}"/>
              </a:ext>
            </a:extLst>
          </p:cNvPr>
          <p:cNvSpPr/>
          <p:nvPr/>
        </p:nvSpPr>
        <p:spPr>
          <a:xfrm>
            <a:off x="7106129" y="1716548"/>
            <a:ext cx="2708427" cy="792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大盘</a:t>
            </a:r>
          </a:p>
        </p:txBody>
      </p:sp>
      <p:sp>
        <p:nvSpPr>
          <p:cNvPr id="4" name="虚尾箭头 3">
            <a:extLst>
              <a:ext uri="{FF2B5EF4-FFF2-40B4-BE49-F238E27FC236}">
                <a16:creationId xmlns:a16="http://schemas.microsoft.com/office/drawing/2014/main" id="{AE05CC56-654B-C544-B149-FE967E6C74DB}"/>
              </a:ext>
            </a:extLst>
          </p:cNvPr>
          <p:cNvSpPr/>
          <p:nvPr/>
        </p:nvSpPr>
        <p:spPr>
          <a:xfrm rot="16200000">
            <a:off x="8243015" y="3717483"/>
            <a:ext cx="434657" cy="1158240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虚尾箭头 11">
            <a:extLst>
              <a:ext uri="{FF2B5EF4-FFF2-40B4-BE49-F238E27FC236}">
                <a16:creationId xmlns:a16="http://schemas.microsoft.com/office/drawing/2014/main" id="{FED91768-2362-934A-B70A-4243DE6E4301}"/>
              </a:ext>
            </a:extLst>
          </p:cNvPr>
          <p:cNvSpPr/>
          <p:nvPr/>
        </p:nvSpPr>
        <p:spPr>
          <a:xfrm rot="16200000">
            <a:off x="8243016" y="2209642"/>
            <a:ext cx="434657" cy="1158240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9479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54782"/>
            <a:ext cx="10859911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r>
              <a:rPr lang="zh-CN" altLang="en-US" sz="24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监管报送，口径不同</a:t>
            </a:r>
            <a:endParaRPr lang="en-US" altLang="zh-CN" sz="24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日报送，季度报送，数据粒度、文件类型不同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抽查报送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数据质量</a:t>
            </a:r>
            <a:r>
              <a:rPr lang="zh-CN" altLang="en-US" sz="24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检查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异常数据的回流及报告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前后口径对应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规则库维护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数据监控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lvl="1"/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r>
              <a:rPr lang="zh-CN" altLang="en-US" sz="24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报送，大量人力支持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人员流动，传承效果不佳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报送延迟处理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监管通告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问题跟踪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统一报送平台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66410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圆角矩形 33">
            <a:extLst>
              <a:ext uri="{FF2B5EF4-FFF2-40B4-BE49-F238E27FC236}">
                <a16:creationId xmlns:a16="http://schemas.microsoft.com/office/drawing/2014/main" id="{E3AD03A8-01DD-D846-83D8-99F5E4482E6F}"/>
              </a:ext>
            </a:extLst>
          </p:cNvPr>
          <p:cNvSpPr/>
          <p:nvPr/>
        </p:nvSpPr>
        <p:spPr>
          <a:xfrm>
            <a:off x="994900" y="5402215"/>
            <a:ext cx="10134600" cy="90669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zh-CN" altLang="en-US" dirty="0"/>
              <a:t>数仓</a:t>
            </a: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CD44DF10-EF40-B34D-B6CC-ADBED992A187}"/>
              </a:ext>
            </a:extLst>
          </p:cNvPr>
          <p:cNvSpPr/>
          <p:nvPr/>
        </p:nvSpPr>
        <p:spPr>
          <a:xfrm>
            <a:off x="994900" y="2281630"/>
            <a:ext cx="10134600" cy="86435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67E75593-19F8-AB42-9C06-74D60B733582}"/>
              </a:ext>
            </a:extLst>
          </p:cNvPr>
          <p:cNvSpPr/>
          <p:nvPr/>
        </p:nvSpPr>
        <p:spPr>
          <a:xfrm>
            <a:off x="994900" y="3344789"/>
            <a:ext cx="10134600" cy="86435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FAAEDB6F-6430-E141-85E0-6630BAA49DCB}"/>
              </a:ext>
            </a:extLst>
          </p:cNvPr>
          <p:cNvSpPr/>
          <p:nvPr/>
        </p:nvSpPr>
        <p:spPr>
          <a:xfrm>
            <a:off x="994900" y="4300584"/>
            <a:ext cx="10134600" cy="90669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统一报送平台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06BF842-45F4-104E-8AC9-6C3632D56D52}"/>
              </a:ext>
            </a:extLst>
          </p:cNvPr>
          <p:cNvSpPr/>
          <p:nvPr/>
        </p:nvSpPr>
        <p:spPr>
          <a:xfrm>
            <a:off x="1253980" y="4495524"/>
            <a:ext cx="9631674" cy="5577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报送集市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5CF9BBF-C14B-6E4E-9080-DC878D0BD677}"/>
              </a:ext>
            </a:extLst>
          </p:cNvPr>
          <p:cNvSpPr/>
          <p:nvPr/>
        </p:nvSpPr>
        <p:spPr>
          <a:xfrm>
            <a:off x="1253980" y="3525113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整理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E767C65-86DA-8048-88D4-22085409E11C}"/>
              </a:ext>
            </a:extLst>
          </p:cNvPr>
          <p:cNvSpPr/>
          <p:nvPr/>
        </p:nvSpPr>
        <p:spPr>
          <a:xfrm>
            <a:off x="3212325" y="3525113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存量数据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36EF70B-E5C8-4843-9EDB-E3DAB8D8CE9B}"/>
              </a:ext>
            </a:extLst>
          </p:cNvPr>
          <p:cNvSpPr/>
          <p:nvPr/>
        </p:nvSpPr>
        <p:spPr>
          <a:xfrm>
            <a:off x="5170670" y="3525429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补录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BE20565-B815-294F-87C6-E2A19C76BDE9}"/>
              </a:ext>
            </a:extLst>
          </p:cNvPr>
          <p:cNvSpPr/>
          <p:nvPr/>
        </p:nvSpPr>
        <p:spPr>
          <a:xfrm>
            <a:off x="7136622" y="3525112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检验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3DB037A-9107-2D40-9325-CD531CCB751F}"/>
              </a:ext>
            </a:extLst>
          </p:cNvPr>
          <p:cNvSpPr/>
          <p:nvPr/>
        </p:nvSpPr>
        <p:spPr>
          <a:xfrm>
            <a:off x="1253980" y="2472828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指标管理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C43326D5-6D00-FB44-AE50-A6509E0DED14}"/>
              </a:ext>
            </a:extLst>
          </p:cNvPr>
          <p:cNvSpPr/>
          <p:nvPr/>
        </p:nvSpPr>
        <p:spPr>
          <a:xfrm>
            <a:off x="2846551" y="2472825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反馈管理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37321BD-4D51-B84E-8C90-0C1328E06BAC}"/>
              </a:ext>
            </a:extLst>
          </p:cNvPr>
          <p:cNvSpPr/>
          <p:nvPr/>
        </p:nvSpPr>
        <p:spPr>
          <a:xfrm>
            <a:off x="4439142" y="2472825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上报管理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267F8881-DB10-2749-A9CC-384E299118F7}"/>
              </a:ext>
            </a:extLst>
          </p:cNvPr>
          <p:cNvSpPr/>
          <p:nvPr/>
        </p:nvSpPr>
        <p:spPr>
          <a:xfrm>
            <a:off x="9102574" y="3525111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回写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2331DB2-40A9-B241-AC11-280B632064C6}"/>
              </a:ext>
            </a:extLst>
          </p:cNvPr>
          <p:cNvSpPr/>
          <p:nvPr/>
        </p:nvSpPr>
        <p:spPr>
          <a:xfrm>
            <a:off x="6130777" y="2472825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流程管理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58201CEA-00CA-144A-99A2-C3097017F107}"/>
              </a:ext>
            </a:extLst>
          </p:cNvPr>
          <p:cNvSpPr/>
          <p:nvPr/>
        </p:nvSpPr>
        <p:spPr>
          <a:xfrm>
            <a:off x="9559768" y="2446474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消息监控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DA778AC-7AC0-5648-8E09-3BAFE85A625C}"/>
              </a:ext>
            </a:extLst>
          </p:cNvPr>
          <p:cNvSpPr/>
          <p:nvPr/>
        </p:nvSpPr>
        <p:spPr>
          <a:xfrm>
            <a:off x="7868133" y="2472825"/>
            <a:ext cx="1325886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调度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7E5295F2-9DB9-B54E-946A-8F0FC09D839E}"/>
              </a:ext>
            </a:extLst>
          </p:cNvPr>
          <p:cNvSpPr/>
          <p:nvPr/>
        </p:nvSpPr>
        <p:spPr>
          <a:xfrm>
            <a:off x="1752591" y="1074977"/>
            <a:ext cx="1093960" cy="978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保单登记</a:t>
            </a: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2F8E3C88-7682-0E46-84B0-E327A6157165}"/>
              </a:ext>
            </a:extLst>
          </p:cNvPr>
          <p:cNvSpPr/>
          <p:nvPr/>
        </p:nvSpPr>
        <p:spPr>
          <a:xfrm>
            <a:off x="3614040" y="1074977"/>
            <a:ext cx="1093960" cy="978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稽核报送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CC3D81C9-00AC-B44F-8C48-D188009A29E7}"/>
              </a:ext>
            </a:extLst>
          </p:cNvPr>
          <p:cNvSpPr/>
          <p:nvPr/>
        </p:nvSpPr>
        <p:spPr>
          <a:xfrm>
            <a:off x="5593956" y="1074977"/>
            <a:ext cx="1093960" cy="978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监管报送</a:t>
            </a: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0EB9325A-BBE6-8A44-93D5-DAD97B240651}"/>
              </a:ext>
            </a:extLst>
          </p:cNvPr>
          <p:cNvSpPr/>
          <p:nvPr/>
        </p:nvSpPr>
        <p:spPr>
          <a:xfrm>
            <a:off x="7354235" y="1074977"/>
            <a:ext cx="1093960" cy="978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临时报送</a:t>
            </a: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C9788CF6-42ED-3647-BCCF-402EF4893C2E}"/>
              </a:ext>
            </a:extLst>
          </p:cNvPr>
          <p:cNvSpPr/>
          <p:nvPr/>
        </p:nvSpPr>
        <p:spPr>
          <a:xfrm>
            <a:off x="9102574" y="1057395"/>
            <a:ext cx="1093960" cy="978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API</a:t>
            </a:r>
            <a:r>
              <a:rPr kumimoji="1" lang="zh-CN" altLang="en-US" dirty="0"/>
              <a:t>报送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2EC2D76-1AA1-A14A-8D89-735E288A13B2}"/>
              </a:ext>
            </a:extLst>
          </p:cNvPr>
          <p:cNvSpPr/>
          <p:nvPr/>
        </p:nvSpPr>
        <p:spPr>
          <a:xfrm>
            <a:off x="1298982" y="5749743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合约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E5850BA-695A-A543-9D0A-E316FE98CC34}"/>
              </a:ext>
            </a:extLst>
          </p:cNvPr>
          <p:cNvSpPr/>
          <p:nvPr/>
        </p:nvSpPr>
        <p:spPr>
          <a:xfrm>
            <a:off x="3257327" y="5749743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理赔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BEE6B723-433B-FB42-ACEA-36297268E032}"/>
              </a:ext>
            </a:extLst>
          </p:cNvPr>
          <p:cNvSpPr/>
          <p:nvPr/>
        </p:nvSpPr>
        <p:spPr>
          <a:xfrm>
            <a:off x="5215672" y="5750059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交易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D5BD7431-BAA1-7744-834E-537C1222AB43}"/>
              </a:ext>
            </a:extLst>
          </p:cNvPr>
          <p:cNvSpPr/>
          <p:nvPr/>
        </p:nvSpPr>
        <p:spPr>
          <a:xfrm>
            <a:off x="7181624" y="5749742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财务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971CBBFB-7B07-544C-90D7-1731E71F4CFE}"/>
              </a:ext>
            </a:extLst>
          </p:cNvPr>
          <p:cNvSpPr/>
          <p:nvPr/>
        </p:nvSpPr>
        <p:spPr>
          <a:xfrm>
            <a:off x="9147576" y="5749741"/>
            <a:ext cx="1783080" cy="5316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维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44191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54782"/>
            <a:ext cx="10859911" cy="5557131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t" anchorCtr="0">
            <a:normAutofit/>
          </a:bodyPr>
          <a:lstStyle/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报送平台 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=&gt;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中台建设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类型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检测任务，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</a:t>
            </a:r>
            <a:r>
              <a:rPr lang="en-US" altLang="zh-CN" sz="2000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ql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类型结果做检测，分区是否存在、记录是否更新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质量报告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查询结果注册变量，全局使用，基于各查询结果，汇总输出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开放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PI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简化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PI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，简化任务注册，监控回调，整合外部系统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目标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47028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3069136" y="1203721"/>
            <a:ext cx="6286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THANKS</a:t>
            </a:r>
            <a:endParaRPr lang="zh-CN" altLang="en-US" sz="48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069136" y="2001231"/>
            <a:ext cx="6286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FOR YOUR WATCHING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9572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85262"/>
            <a:ext cx="10859911" cy="5526651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调度</a:t>
            </a: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彩云间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数据工厂、任务管理，偏数仓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QL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计算资源，贵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外部集群，开放性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即将下线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Data-Go</a:t>
            </a:r>
            <a:endParaRPr lang="zh-CN" altLang="en-US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/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调度</a:t>
            </a: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—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金融分布式架构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服务端方法调度，金融级产品特性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依赖</a:t>
            </a: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jar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包，</a:t>
            </a:r>
            <a:r>
              <a:rPr lang="en-US" altLang="zh-CN" sz="2000" b="1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OFABoot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/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en-US" altLang="zh-CN" sz="2000" b="1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irFlow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ETL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Python</a:t>
            </a: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脚本复杂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不易维护</a:t>
            </a:r>
            <a:endParaRPr lang="en-US" altLang="zh-CN" sz="20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/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需求背景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2987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调度</a:t>
            </a:r>
            <a:r>
              <a:rPr lang="en-US" altLang="zh-CN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</a:t>
            </a:r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金融分布式架构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0FEB47-01B0-0B48-B24B-1877B3CB6E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309913"/>
            <a:ext cx="12192000" cy="46032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0845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管理</a:t>
            </a:r>
            <a:r>
              <a:rPr lang="en-US" altLang="zh-CN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</a:t>
            </a:r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彩云间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5409C69-C335-1846-BF0E-5991B181FE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7289" y="1471930"/>
            <a:ext cx="5354959" cy="41275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BE56CC2-E20C-E64C-B7A4-541245F59E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480" y="1471929"/>
            <a:ext cx="5464809" cy="41225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6170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en-US" altLang="zh-CN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Data-Go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25BC3A1-C5B8-D04D-A813-AE475055F3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1350" y="1973263"/>
            <a:ext cx="8369300" cy="3276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1472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54782"/>
            <a:ext cx="10859911" cy="5557131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endParaRPr lang="en-US" altLang="zh-CN" sz="2400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大量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ETL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 err="1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irFlow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编辑的复杂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补数及排错繁琐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DPS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计算费用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内部项目调度相关需求跟进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中台建设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…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en-US" altLang="zh-CN" sz="24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痛点</a:t>
            </a:r>
            <a:endParaRPr lang="en-US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6067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666044" y="998185"/>
            <a:ext cx="10859911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支持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支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MR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park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MR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SQL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任务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DAG</a:t>
            </a:r>
          </a:p>
          <a:p>
            <a:pPr lvl="1"/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可用性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高可用，失败重试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/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安全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用户及权限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支持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Kerberos(CDH</a:t>
            </a: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集群</a:t>
            </a:r>
            <a:r>
              <a:rPr lang="en-US" altLang="zh-CN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)</a:t>
            </a:r>
          </a:p>
          <a:p>
            <a:pPr lvl="0">
              <a:defRPr/>
            </a:pP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>
              <a:defRPr/>
            </a:pPr>
            <a:r>
              <a:rPr lang="zh-CN" altLang="en-US" sz="2000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开源</a:t>
            </a:r>
            <a:endParaRPr lang="en-US" altLang="zh-CN" sz="2000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方便二次开发</a:t>
            </a:r>
            <a:endParaRPr kumimoji="0" lang="en-US" altLang="zh-CN" sz="200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需求调研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53768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54782"/>
            <a:ext cx="10859911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需求调研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4634F78-A458-F14F-95C3-7614C947EE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6615" y="854781"/>
            <a:ext cx="8758146" cy="59936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36720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灯片编号占位符 45"/>
          <p:cNvSpPr>
            <a:spLocks noGrp="1"/>
          </p:cNvSpPr>
          <p:nvPr>
            <p:ph type="sldNum" sz="quarter" idx="4294967295"/>
          </p:nvPr>
        </p:nvSpPr>
        <p:spPr>
          <a:xfrm>
            <a:off x="0" y="6411913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5FB5F6-5366-46B6-8F16-98E2FB549E2E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EA62D61-76C2-4126-B00A-83498A2801F9}"/>
              </a:ext>
            </a:extLst>
          </p:cNvPr>
          <p:cNvSpPr txBox="1"/>
          <p:nvPr/>
        </p:nvSpPr>
        <p:spPr>
          <a:xfrm>
            <a:off x="575733" y="854782"/>
            <a:ext cx="10859911" cy="5226755"/>
          </a:xfrm>
          <a:prstGeom prst="rect">
            <a:avLst/>
          </a:prstGeom>
          <a:noFill/>
          <a:ln w="3175">
            <a:noFill/>
          </a:ln>
        </p:spPr>
        <p:txBody>
          <a:bodyPr wrap="square" lIns="270000" tIns="0" rIns="0" bIns="0" rtlCol="0" anchor="ctr" anchorCtr="0">
            <a:normAutofit/>
          </a:bodyPr>
          <a:lstStyle/>
          <a:p>
            <a:pPr lvl="0"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MH_PageTitle">
            <a:extLst>
              <a:ext uri="{FF2B5EF4-FFF2-40B4-BE49-F238E27FC236}">
                <a16:creationId xmlns:a16="http://schemas.microsoft.com/office/drawing/2014/main" id="{8AE79908-0203-40F4-9E70-4E3C275D2B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695" y="319088"/>
            <a:ext cx="7818438" cy="492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effectLst/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需求调研</a:t>
            </a:r>
            <a:endParaRPr lang="zh-CN" altLang="zh-CN" b="1" dirty="0">
              <a:solidFill>
                <a:srgbClr val="0070C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CC936EB-EE11-CF4E-9870-727186C3AB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4608" y="854782"/>
            <a:ext cx="10481659" cy="60032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9168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CONTENTSID" val="278"/>
  <p:tag name="MH_SECTIONID" val="279,280,281,"/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2426844010000044349E+00&quot;&gt;&lt;m_msothmcolidx val=&quot;0&quot;/&gt;&lt;m_rgb r=&quot;00&quot; g=&quot;70&quot; b=&quot;C0&quot;/&gt;&lt;m_nBrightness val=&quot;0&quot;/&gt;&lt;/elem&gt;&lt;elem m_fUsage=&quot;2.62886148900000060635E+00&quot;&gt;&lt;m_msothmcolidx val=&quot;0&quot;/&gt;&lt;m_rgb r=&quot;DD&quot; g=&quot;F0&quot; b=&quot;FF&quot;/&gt;&lt;m_nBrightness val=&quot;0&quot;/&gt;&lt;/elem&gt;&lt;elem m_fUsage=&quot;4.78296900000000135833E-01&quot;&gt;&lt;m_msothmcolidx val=&quot;0&quot;/&gt;&lt;m_rgb r=&quot;BF&quot; g=&quot;E4&quot; b=&quot;FF&quot;/&gt;&lt;m_nBrightness val=&quot;0&quot;/&gt;&lt;/elem&gt;&lt;elem m_fUsage=&quot;4.30467210000000155556E-01&quot;&gt;&lt;m_msothmcolidx val=&quot;0&quot;/&gt;&lt;m_rgb r=&quot;CC&quot; g=&quot;EA&quot; b=&quot;FF&quot;/&gt;&lt;m_nBrightness val=&quot;0&quot;/&gt;&lt;/elem&gt;&lt;elem m_fUsage=&quot;3.13810596090000171188E-01&quot;&gt;&lt;m_msothmcolidx val=&quot;0&quot;/&gt;&lt;m_rgb r=&quot;00&quot; g=&quot;A8&quot; b=&quot;7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Desc"/>
  <p:tag name="MH" val="20161025165752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5161749"/>
  <p:tag name="MH_LIBRARY" val="GRAPHIC"/>
  <p:tag name="MH_TYPE" val="PageTitle"/>
  <p:tag name="MH_ORDER" val="Page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000120140530A99PPBG">
  <a:themeElements>
    <a:clrScheme name="蓝色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自定义 7">
      <a:majorFont>
        <a:latin typeface="Arial"/>
        <a:ea typeface="微软雅黑"/>
        <a:cs typeface=""/>
      </a:majorFont>
      <a:minorFont>
        <a:latin typeface="Arial"/>
        <a:ea typeface="幼圆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130000"/>
          </a:lnSpc>
          <a:defRPr sz="1400" dirty="0" smtClean="0">
            <a:latin typeface="Arial" panose="020B0604020202020204" pitchFamily="34" charset="0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蓝绿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xiaomin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sz="1100" b="1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3175">
          <a:solidFill>
            <a:srgbClr val="DCEDFC"/>
          </a:solidFill>
        </a:ln>
      </a:spPr>
      <a:bodyPr wrap="square" lIns="270000" tIns="0" rIns="0" bIns="0" rtlCol="0" anchor="ctr" anchorCtr="0">
        <a:normAutofit/>
      </a:bodyPr>
      <a:lstStyle>
        <a:defPPr>
          <a:defRPr sz="2400" dirty="0" smtClean="0">
            <a:solidFill>
              <a:srgbClr val="0070C0"/>
            </a:solidFill>
            <a:latin typeface="黑体" panose="02010609060101010101" pitchFamily="49" charset="-122"/>
            <a:ea typeface="黑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国泰模板1" id="{B0977461-C025-E844-8EC3-4A9F321836FD}" vid="{DDFC4F00-B994-184D-ABFF-91C8B0C0E324}"/>
    </a:ext>
  </a:extLst>
</a:theme>
</file>

<file path=ppt/theme/theme3.xml><?xml version="1.0" encoding="utf-8"?>
<a:theme xmlns:a="http://schemas.openxmlformats.org/drawingml/2006/main" name="2_自定义设计方案">
  <a:themeElements>
    <a:clrScheme name="蓝绿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xiaomin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sz="1100" b="1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3175">
          <a:solidFill>
            <a:srgbClr val="DCEDFC"/>
          </a:solidFill>
        </a:ln>
      </a:spPr>
      <a:bodyPr wrap="square" lIns="270000" tIns="0" rIns="0" bIns="0" rtlCol="0" anchor="ctr" anchorCtr="0">
        <a:normAutofit/>
      </a:bodyPr>
      <a:lstStyle>
        <a:defPPr>
          <a:defRPr sz="2400" dirty="0" smtClean="0">
            <a:solidFill>
              <a:srgbClr val="0070C0"/>
            </a:solidFill>
            <a:latin typeface="黑体" panose="02010609060101010101" pitchFamily="49" charset="-122"/>
            <a:ea typeface="黑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国泰模板1" id="{B0977461-C025-E844-8EC3-4A9F321836FD}" vid="{DDFC4F00-B994-184D-ABFF-91C8B0C0E324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417</TotalTime>
  <Words>552</Words>
  <Application>Microsoft Macintosh PowerPoint</Application>
  <PresentationFormat>宽屏</PresentationFormat>
  <Paragraphs>198</Paragraphs>
  <Slides>18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9" baseType="lpstr">
      <vt:lpstr>黑体</vt:lpstr>
      <vt:lpstr>微软雅黑</vt:lpstr>
      <vt:lpstr>幼圆</vt:lpstr>
      <vt:lpstr>Arial</vt:lpstr>
      <vt:lpstr>Calibri</vt:lpstr>
      <vt:lpstr>Wingdings</vt:lpstr>
      <vt:lpstr>Wingdings 2</vt:lpstr>
      <vt:lpstr>A000120140530A99PPBG</vt:lpstr>
      <vt:lpstr>1_自定义设计方案</vt:lpstr>
      <vt:lpstr>2_自定义设计方案</vt:lpstr>
      <vt:lpstr>think-cell Slide</vt:lpstr>
      <vt:lpstr>DolphinScheduler在国泰产险的应用与实践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/>
  <Company>Microsof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subject/>
  <dc:creator>zhangzongyao@cathay-ins.com.cn</dc:creator>
  <cp:keywords/>
  <dc:description/>
  <cp:lastModifiedBy>张 宗耀</cp:lastModifiedBy>
  <cp:revision>1401</cp:revision>
  <cp:lastPrinted>2016-10-16T04:05:13Z</cp:lastPrinted>
  <dcterms:created xsi:type="dcterms:W3CDTF">2016-10-13T03:51:11Z</dcterms:created>
  <dcterms:modified xsi:type="dcterms:W3CDTF">2019-10-26T01:13:02Z</dcterms:modified>
  <cp:category/>
</cp:coreProperties>
</file>